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slideLayouts/slideLayout31.xml" ContentType="application/vnd.openxmlformats-officedocument.presentationml.slideLayout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slideLayouts/slideLayout32.xml" ContentType="application/vnd.openxmlformats-officedocument.presentationml.slideLayout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Layouts/slideLayout33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700" r:id="rId2"/>
  </p:sldMasterIdLst>
  <p:notesMasterIdLst>
    <p:notesMasterId r:id="rId8"/>
  </p:notesMasterIdLst>
  <p:handoutMasterIdLst>
    <p:handoutMasterId r:id="rId9"/>
  </p:handoutMasterIdLst>
  <p:sldIdLst>
    <p:sldId id="261" r:id="rId3"/>
    <p:sldId id="480" r:id="rId4"/>
    <p:sldId id="456" r:id="rId5"/>
    <p:sldId id="479" r:id="rId6"/>
    <p:sldId id="452" r:id="rId7"/>
  </p:sldIdLst>
  <p:sldSz cx="9144000" cy="6858000" type="screen4x3"/>
  <p:notesSz cx="6797675" cy="9926638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838">
          <p15:clr>
            <a:srgbClr val="A4A3A4"/>
          </p15:clr>
        </p15:guide>
        <p15:guide id="2" orient="horz" pos="890">
          <p15:clr>
            <a:srgbClr val="A4A3A4"/>
          </p15:clr>
        </p15:guide>
        <p15:guide id="3" pos="5602">
          <p15:clr>
            <a:srgbClr val="A4A3A4"/>
          </p15:clr>
        </p15:guide>
        <p15:guide id="4" pos="204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24" userDrawn="1">
          <p15:clr>
            <a:srgbClr val="A4A3A4"/>
          </p15:clr>
        </p15:guide>
        <p15:guide id="2" pos="2204" userDrawn="1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dmin" initials="A" lastIdx="10" clrIdx="0"/>
  <p:cmAuthor id="1" name="Liezel Zaal" initials="LZ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B5121B"/>
    <a:srgbClr val="00329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31" autoAdjust="0"/>
    <p:restoredTop sz="93173" autoAdjust="0"/>
  </p:normalViewPr>
  <p:slideViewPr>
    <p:cSldViewPr>
      <p:cViewPr varScale="1">
        <p:scale>
          <a:sx n="108" d="100"/>
          <a:sy n="108" d="100"/>
        </p:scale>
        <p:origin x="-1716" y="-90"/>
      </p:cViewPr>
      <p:guideLst>
        <p:guide orient="horz" pos="3838"/>
        <p:guide orient="horz" pos="890"/>
        <p:guide pos="5602"/>
        <p:guide pos="20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howGuides="1">
      <p:cViewPr varScale="1">
        <p:scale>
          <a:sx n="67" d="100"/>
          <a:sy n="67" d="100"/>
        </p:scale>
        <p:origin x="-3228" y="-96"/>
      </p:cViewPr>
      <p:guideLst>
        <p:guide orient="horz" pos="2924"/>
        <p:guide orient="horz" pos="3127"/>
        <p:guide pos="2204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C7F027-379E-4D32-9199-1B8938F68AAE}" type="datetimeFigureOut">
              <a:rPr lang="en-GB" smtClean="0"/>
              <a:pPr/>
              <a:t>21/05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3FB82-2445-4031-8D77-475052559E5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7762455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7E7989-31F3-4EB9-8547-909D99F43AE5}" type="datetimeFigureOut">
              <a:rPr lang="en-ZA" smtClean="0"/>
              <a:pPr/>
              <a:t>2018/05/21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2950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6656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7065620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2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0397468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3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8243967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4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1962438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/>
              <a:pPr/>
              <a:t>21 May 2018</a:t>
            </a:fld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Health\WCG - Logo - Health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0652" y="382532"/>
            <a:ext cx="5739912" cy="162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952831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8320155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414796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637700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74782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Health\WCG - Logo - Health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6954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64938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840323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731791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189382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907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60836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45450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260802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668631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Health\WCG - Logo - Health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08002" y="1911739"/>
            <a:ext cx="2414658" cy="680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910667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254666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68C4C-95D0-4AB7-8E5F-A791FDF4FAE2}" type="datetimeFigureOut">
              <a:rPr lang="en-ZA" smtClean="0"/>
              <a:pPr/>
              <a:t>2018/05/21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F6D16-397D-4C49-9D2D-B8CA39DFA947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41307311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68C4C-95D0-4AB7-8E5F-A791FDF4FAE2}" type="datetimeFigureOut">
              <a:rPr lang="en-ZA" smtClean="0"/>
              <a:pPr/>
              <a:t>2018/05/21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F6D16-397D-4C49-9D2D-B8CA39DFA947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7985965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68C4C-95D0-4AB7-8E5F-A791FDF4FAE2}" type="datetimeFigureOut">
              <a:rPr lang="en-ZA" smtClean="0"/>
              <a:pPr/>
              <a:t>2018/05/21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F6D16-397D-4C49-9D2D-B8CA39DFA947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9166945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68C4C-95D0-4AB7-8E5F-A791FDF4FAE2}" type="datetimeFigureOut">
              <a:rPr lang="en-ZA" smtClean="0"/>
              <a:pPr/>
              <a:t>2018/05/21</a:t>
            </a:fld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F6D16-397D-4C49-9D2D-B8CA39DFA947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8485011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68C4C-95D0-4AB7-8E5F-A791FDF4FAE2}" type="datetimeFigureOut">
              <a:rPr lang="en-ZA" smtClean="0"/>
              <a:pPr/>
              <a:t>2018/05/21</a:t>
            </a:fld>
            <a:endParaRPr lang="en-ZA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F6D16-397D-4C49-9D2D-B8CA39DFA947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4754592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617407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68C4C-95D0-4AB7-8E5F-A791FDF4FAE2}" type="datetimeFigureOut">
              <a:rPr lang="en-ZA" smtClean="0"/>
              <a:pPr/>
              <a:t>2018/05/21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F6D16-397D-4C49-9D2D-B8CA39DFA947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2316829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68C4C-95D0-4AB7-8E5F-A791FDF4FAE2}" type="datetimeFigureOut">
              <a:rPr lang="en-ZA" smtClean="0"/>
              <a:pPr/>
              <a:t>2018/05/21</a:t>
            </a:fld>
            <a:endParaRPr lang="en-ZA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F6D16-397D-4C49-9D2D-B8CA39DFA947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6643079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68C4C-95D0-4AB7-8E5F-A791FDF4FAE2}" type="datetimeFigureOut">
              <a:rPr lang="en-ZA" smtClean="0"/>
              <a:pPr/>
              <a:t>2018/05/21</a:t>
            </a:fld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F6D16-397D-4C49-9D2D-B8CA39DFA947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1567789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Z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68C4C-95D0-4AB7-8E5F-A791FDF4FAE2}" type="datetimeFigureOut">
              <a:rPr lang="en-ZA" smtClean="0"/>
              <a:pPr/>
              <a:t>2018/05/21</a:t>
            </a:fld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F6D16-397D-4C49-9D2D-B8CA39DFA947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42556322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68C4C-95D0-4AB7-8E5F-A791FDF4FAE2}" type="datetimeFigureOut">
              <a:rPr lang="en-ZA" smtClean="0"/>
              <a:pPr/>
              <a:t>2018/05/21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F6D16-397D-4C49-9D2D-B8CA39DFA947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7277150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68C4C-95D0-4AB7-8E5F-A791FDF4FAE2}" type="datetimeFigureOut">
              <a:rPr lang="en-ZA" smtClean="0"/>
              <a:pPr/>
              <a:t>2018/05/21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5F6D16-397D-4C49-9D2D-B8CA39DFA947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4168054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8427197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768585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15329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085709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578319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1048080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03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1" name="Picture 115" descr="C:\Users\Conny\Desktop\WCG\WCG - Logo\PNG\Logos blue\Health\WCG - Logo - Health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768C4C-95D0-4AB7-8E5F-A791FDF4FAE2}" type="datetimeFigureOut">
              <a:rPr lang="en-ZA" smtClean="0"/>
              <a:pPr/>
              <a:t>2018/05/21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5F6D16-397D-4C49-9D2D-B8CA39DFA947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512564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0.xml"/><Relationship Id="rId4" Type="http://schemas.openxmlformats.org/officeDocument/2006/relationships/image" Target="../media/image1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2.xml"/><Relationship Id="rId4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467544" y="3212976"/>
            <a:ext cx="8208912" cy="1656184"/>
          </a:xfrm>
        </p:spPr>
        <p:txBody>
          <a:bodyPr>
            <a:normAutofit/>
          </a:bodyPr>
          <a:lstStyle/>
          <a:p>
            <a:pPr algn="ctr"/>
            <a:r>
              <a:rPr lang="en-ZA" sz="3200" dirty="0" smtClean="0"/>
              <a:t>Recovery of Debt </a:t>
            </a:r>
            <a:br>
              <a:rPr lang="en-ZA" sz="3200" dirty="0" smtClean="0"/>
            </a:br>
            <a:r>
              <a:rPr lang="en-ZA" sz="3200" dirty="0" smtClean="0"/>
              <a:t>in respect of </a:t>
            </a:r>
            <a:br>
              <a:rPr lang="en-ZA" sz="3200" dirty="0" smtClean="0"/>
            </a:br>
            <a:r>
              <a:rPr lang="en-ZA" sz="3200" dirty="0" smtClean="0"/>
              <a:t>salary </a:t>
            </a:r>
            <a:r>
              <a:rPr lang="en-ZA" sz="3200" dirty="0"/>
              <a:t>overpayments</a:t>
            </a:r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2"/>
          </p:nvPr>
        </p:nvSpPr>
        <p:spPr>
          <a:xfrm>
            <a:off x="7308304" y="6165304"/>
            <a:ext cx="1512168" cy="365125"/>
          </a:xfrm>
        </p:spPr>
        <p:txBody>
          <a:bodyPr/>
          <a:lstStyle/>
          <a:p>
            <a:pPr algn="ctr"/>
            <a:r>
              <a:rPr lang="en-US" dirty="0"/>
              <a:t>Date:  16 May 2018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8750783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5275" y="54942"/>
            <a:ext cx="8597205" cy="781770"/>
          </a:xfrm>
        </p:spPr>
        <p:txBody>
          <a:bodyPr>
            <a:normAutofit fontScale="90000"/>
          </a:bodyPr>
          <a:lstStyle/>
          <a:p>
            <a:pPr algn="r"/>
            <a:r>
              <a:rPr lang="en-GB" sz="3100" dirty="0" smtClean="0"/>
              <a:t>Overview of Salary Overpayment Debt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2014/15 to 2016/17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</a:t>
            </a:fld>
            <a:endParaRPr lang="en-ZA" dirty="0"/>
          </a:p>
        </p:txBody>
      </p:sp>
      <p:sp>
        <p:nvSpPr>
          <p:cNvPr id="2" name="TextBox 1"/>
          <p:cNvSpPr txBox="1"/>
          <p:nvPr/>
        </p:nvSpPr>
        <p:spPr>
          <a:xfrm>
            <a:off x="474697" y="4581128"/>
            <a:ext cx="8424936" cy="116955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dirty="0" smtClean="0"/>
              <a:t>The debtor type continues to increase in number of incidences as wells as Rand valu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dirty="0" smtClean="0"/>
              <a:t>Growth of debtor type mainly due consistent number (400+) of new salary overpayment incidences registered annuall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dirty="0" smtClean="0"/>
              <a:t>The debt write offs are possibly on the conservative side considering the ageing of this debtor type (2016/17: R5.4m &gt; 1 year)</a:t>
            </a:r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9552" y="1032364"/>
            <a:ext cx="8432821" cy="31986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xmlns="" val="4588133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5275" y="451084"/>
            <a:ext cx="8597205" cy="400144"/>
          </a:xfrm>
        </p:spPr>
        <p:txBody>
          <a:bodyPr>
            <a:normAutofit fontScale="90000"/>
          </a:bodyPr>
          <a:lstStyle/>
          <a:p>
            <a:pPr algn="r"/>
            <a:r>
              <a:rPr lang="en-ZA" dirty="0" smtClean="0"/>
              <a:t>Recovery Process</a:t>
            </a:r>
            <a:endParaRPr lang="en-ZA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</a:t>
            </a:fld>
            <a:endParaRPr lang="en-ZA" dirty="0"/>
          </a:p>
        </p:txBody>
      </p:sp>
      <p:sp>
        <p:nvSpPr>
          <p:cNvPr id="3" name="TextBox 2"/>
          <p:cNvSpPr txBox="1"/>
          <p:nvPr/>
        </p:nvSpPr>
        <p:spPr>
          <a:xfrm>
            <a:off x="295275" y="1052736"/>
            <a:ext cx="8487766" cy="53399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500" b="1" dirty="0" smtClean="0"/>
              <a:t>Once salary overpayment is identified: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ZA" sz="1500" dirty="0" smtClean="0"/>
              <a:t>Debtor informed in writing within 10 working days of Departments intention to recover funds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ZA" sz="1500" dirty="0" smtClean="0"/>
              <a:t>Relevant finance office instructed to create debtor .</a:t>
            </a:r>
          </a:p>
          <a:p>
            <a:pPr lvl="1"/>
            <a:endParaRPr lang="en-ZA" sz="1500" dirty="0" smtClean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ZA" sz="1500" b="1" dirty="0" smtClean="0"/>
              <a:t>In service debt </a:t>
            </a:r>
            <a:r>
              <a:rPr lang="en-ZA" sz="1400" b="1" i="1" dirty="0"/>
              <a:t>(i.e. </a:t>
            </a:r>
            <a:r>
              <a:rPr lang="en-ZA" sz="1400" b="1" i="1" dirty="0" smtClean="0"/>
              <a:t>current employee)</a:t>
            </a:r>
            <a:endParaRPr lang="en-ZA" sz="1400" b="1" i="1" dirty="0"/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ZA" sz="1500" dirty="0"/>
              <a:t>R</a:t>
            </a:r>
            <a:r>
              <a:rPr lang="en-ZA" sz="1500" dirty="0" smtClean="0"/>
              <a:t>ecovered by debit order via PERSAL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ZA" sz="1500" dirty="0"/>
              <a:t>No interest charged unless mala fides </a:t>
            </a:r>
            <a:r>
              <a:rPr lang="en-ZA" sz="1500" dirty="0" smtClean="0"/>
              <a:t>present</a:t>
            </a:r>
          </a:p>
          <a:p>
            <a:pPr lvl="1"/>
            <a:endParaRPr lang="en-ZA" sz="1500" dirty="0"/>
          </a:p>
          <a:p>
            <a:pPr marL="285750" lvl="1" indent="-285750">
              <a:buFont typeface="Courier New" panose="02070309020205020404" pitchFamily="49" charset="0"/>
              <a:buChar char="o"/>
            </a:pPr>
            <a:r>
              <a:rPr lang="en-ZA" sz="1500" b="1" dirty="0" smtClean="0"/>
              <a:t>Out of service </a:t>
            </a:r>
            <a:r>
              <a:rPr lang="en-ZA" sz="1500" b="1" dirty="0"/>
              <a:t>debt </a:t>
            </a:r>
            <a:r>
              <a:rPr lang="en-ZA" sz="1400" b="1" i="1" dirty="0"/>
              <a:t>(i.e. </a:t>
            </a:r>
            <a:r>
              <a:rPr lang="en-ZA" sz="1400" b="1" i="1" dirty="0" smtClean="0"/>
              <a:t>ex-employee)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ZA" sz="1400" dirty="0" smtClean="0"/>
              <a:t>A portion or total debt can first be recovered from any benefits (i.e. leave pay) still owing to debtor or from their termination pension benefit (debtors consent required).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ZA" sz="1400" dirty="0" smtClean="0"/>
              <a:t>The balance of the debt is then recovered </a:t>
            </a:r>
            <a:r>
              <a:rPr lang="en-ZA" sz="1400" dirty="0"/>
              <a:t>via </a:t>
            </a:r>
            <a:r>
              <a:rPr lang="en-ZA" sz="1400" dirty="0" smtClean="0"/>
              <a:t>an agreed </a:t>
            </a:r>
            <a:r>
              <a:rPr lang="en-ZA" sz="1400" dirty="0"/>
              <a:t>instalment </a:t>
            </a:r>
            <a:r>
              <a:rPr lang="en-ZA" sz="1400" dirty="0" smtClean="0"/>
              <a:t>plan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ZA" sz="1400" dirty="0" smtClean="0"/>
              <a:t>Interest charged programmatically charged at prescribed rate (currently 10.5%)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ZA" sz="1400" dirty="0" smtClean="0"/>
              <a:t>If no response from Debtor, then letter of demand issued requiring response within 21 days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ZA" sz="1400" dirty="0" smtClean="0"/>
              <a:t>Thereafter debts &gt; R2000 will  be handed over to debt collector (Vericred)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ZA" sz="1400" dirty="0" smtClean="0"/>
              <a:t>Debts &lt;R2000 are deemed uneconomical to recover and are consequently written off.</a:t>
            </a:r>
          </a:p>
          <a:p>
            <a:pPr lvl="1"/>
            <a:endParaRPr lang="en-ZA" sz="1400" b="1" i="1" dirty="0"/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n-ZA" sz="15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n-ZA" sz="1500" b="1" dirty="0" smtClean="0"/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en-ZA" sz="1500" b="1" dirty="0"/>
          </a:p>
          <a:p>
            <a:endParaRPr lang="en-ZA" sz="2000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10807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5275" y="451084"/>
            <a:ext cx="8597205" cy="400144"/>
          </a:xfrm>
        </p:spPr>
        <p:txBody>
          <a:bodyPr>
            <a:normAutofit fontScale="90000"/>
          </a:bodyPr>
          <a:lstStyle/>
          <a:p>
            <a:pPr algn="r"/>
            <a:r>
              <a:rPr lang="en-ZA" dirty="0" smtClean="0"/>
              <a:t>Recovery Process Obstacles</a:t>
            </a:r>
            <a:r>
              <a:rPr lang="en-ZA" dirty="0"/>
              <a:t/>
            </a:r>
            <a:br>
              <a:rPr lang="en-ZA" dirty="0"/>
            </a:br>
            <a:endParaRPr lang="en-ZA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4</a:t>
            </a:fld>
            <a:endParaRPr lang="en-ZA" dirty="0"/>
          </a:p>
        </p:txBody>
      </p:sp>
      <p:sp>
        <p:nvSpPr>
          <p:cNvPr id="3" name="TextBox 2"/>
          <p:cNvSpPr txBox="1"/>
          <p:nvPr/>
        </p:nvSpPr>
        <p:spPr>
          <a:xfrm>
            <a:off x="404714" y="1556792"/>
            <a:ext cx="84877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0150" lvl="2" indent="-285750">
              <a:buFont typeface="Arial" panose="020B0604020202020204" pitchFamily="34" charset="0"/>
              <a:buChar char="•"/>
            </a:pPr>
            <a:endParaRPr lang="en-ZA" sz="1600" dirty="0"/>
          </a:p>
          <a:p>
            <a:endParaRPr lang="en-ZA" sz="2000" b="1" dirty="0"/>
          </a:p>
        </p:txBody>
      </p:sp>
      <p:sp>
        <p:nvSpPr>
          <p:cNvPr id="2" name="TextBox 1"/>
          <p:cNvSpPr txBox="1"/>
          <p:nvPr/>
        </p:nvSpPr>
        <p:spPr>
          <a:xfrm>
            <a:off x="652153" y="980728"/>
            <a:ext cx="7992888" cy="557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dirty="0" smtClean="0"/>
              <a:t>Greatest obstacle is the delay between the occurrence of the salary overpayment and the registering thereof as a debt on the financial system(BA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dirty="0" smtClean="0"/>
              <a:t>The time lapse reduces the probability of recovery by the department as well as debt collector once handed ov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dirty="0" smtClean="0"/>
              <a:t>This can be illustrated by analysing R1,1m Salary Overpayment </a:t>
            </a:r>
            <a:r>
              <a:rPr lang="en-ZA" sz="1400" dirty="0"/>
              <a:t>D</a:t>
            </a:r>
            <a:r>
              <a:rPr lang="en-ZA" sz="1400" dirty="0" smtClean="0"/>
              <a:t>ebtors written off in 2016/17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ZA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dirty="0" smtClean="0"/>
              <a:t>The </a:t>
            </a:r>
            <a:r>
              <a:rPr lang="en-ZA" sz="1400" dirty="0"/>
              <a:t>route </a:t>
            </a:r>
            <a:r>
              <a:rPr lang="en-ZA" sz="1400" dirty="0" smtClean="0"/>
              <a:t>causes </a:t>
            </a:r>
            <a:r>
              <a:rPr lang="en-ZA" sz="1400" dirty="0"/>
              <a:t>of the delay is mainly due to</a:t>
            </a:r>
            <a:r>
              <a:rPr lang="en-ZA" sz="1400" dirty="0" smtClean="0"/>
              <a:t>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400" dirty="0" smtClean="0"/>
              <a:t>The late detection of the actual salary overpayment incidenc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ZA" sz="1400" dirty="0" smtClean="0"/>
              <a:t>Incorrect application of Departmental policy by officials </a:t>
            </a:r>
            <a:r>
              <a:rPr lang="en-ZA" sz="1200" b="1" i="1" dirty="0" smtClean="0">
                <a:solidFill>
                  <a:srgbClr val="FF0000"/>
                </a:solidFill>
              </a:rPr>
              <a:t>(Policy to be updated and recirculated to relevant officials)</a:t>
            </a:r>
            <a:endParaRPr lang="en-ZA" sz="1400" b="1" i="1" dirty="0">
              <a:solidFill>
                <a:srgbClr val="FF0000"/>
              </a:solidFill>
            </a:endParaRPr>
          </a:p>
          <a:p>
            <a:endParaRPr lang="en-ZA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18583" y="2388375"/>
            <a:ext cx="7007370" cy="284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xmlns="" val="15618528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7756338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ur/qYXClUhvwckbOHARTMCFDQhKAVQUekOvmLmPhNT7c610/FVgDr9DIwjBVkh10+uoZtDLLnip08d9YX17yTxrCbvRbX/8VBjuXv/632OIQhYamCTMKSj6cE4A+JQ+h5OAdzKiyiyOOUWtWTYfUjwkUdHlMgxSJJPPnb1LSgl0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33</TotalTime>
  <Words>342</Words>
  <Application>Microsoft Office PowerPoint</Application>
  <PresentationFormat>On-screen Show (4:3)</PresentationFormat>
  <Paragraphs>52</Paragraphs>
  <Slides>5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8" baseType="lpstr">
      <vt:lpstr>WCG-PPT Master-121022-amc</vt:lpstr>
      <vt:lpstr>Custom Design</vt:lpstr>
      <vt:lpstr>think-cell Slide</vt:lpstr>
      <vt:lpstr>Recovery of Debt  in respect of  salary overpayments</vt:lpstr>
      <vt:lpstr>Overview of Salary Overpayment Debt 2014/15 to 2016/17</vt:lpstr>
      <vt:lpstr>Recovery Process</vt:lpstr>
      <vt:lpstr>Recovery Process Obstacles </vt:lpstr>
      <vt:lpstr>Slide 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nny</dc:creator>
  <cp:keywords>POTX</cp:keywords>
  <cp:lastModifiedBy>PUMZA</cp:lastModifiedBy>
  <cp:revision>528</cp:revision>
  <cp:lastPrinted>2018-05-04T06:17:40Z</cp:lastPrinted>
  <dcterms:created xsi:type="dcterms:W3CDTF">2012-11-01T08:19:05Z</dcterms:created>
  <dcterms:modified xsi:type="dcterms:W3CDTF">2018-05-21T08:25:40Z</dcterms:modified>
  <cp:category>CI</cp:category>
</cp:coreProperties>
</file>